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1"/>
  </p:notesMasterIdLst>
  <p:sldIdLst>
    <p:sldId id="415" r:id="rId8"/>
    <p:sldId id="411" r:id="rId9"/>
    <p:sldId id="414" r:id="rId1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B7B7B7"/>
    <a:srgbClr val="444444"/>
    <a:srgbClr val="F6F6F6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6B88361-440C-4F9F-BB67-A36FE9E9AF42}"/>
    <pc:docChg chg="modSld">
      <pc:chgData name="Meyer Raphael (PAR-ES)" userId="79615dfe-ed48-4e74-a40f-4f7b034c1c27" providerId="ADAL" clId="{A6B88361-440C-4F9F-BB67-A36FE9E9AF42}" dt="2023-02-24T13:28:12.699" v="50" actId="20577"/>
      <pc:docMkLst>
        <pc:docMk/>
      </pc:docMkLst>
      <pc:sldChg chg="modSp mod">
        <pc:chgData name="Meyer Raphael (PAR-ES)" userId="79615dfe-ed48-4e74-a40f-4f7b034c1c27" providerId="ADAL" clId="{A6B88361-440C-4F9F-BB67-A36FE9E9AF42}" dt="2023-02-24T13:27:58.050" v="42" actId="20577"/>
        <pc:sldMkLst>
          <pc:docMk/>
          <pc:sldMk cId="34638060" sldId="411"/>
        </pc:sldMkLst>
        <pc:spChg chg="mod">
          <ac:chgData name="Meyer Raphael (PAR-ES)" userId="79615dfe-ed48-4e74-a40f-4f7b034c1c27" providerId="ADAL" clId="{A6B88361-440C-4F9F-BB67-A36FE9E9AF42}" dt="2023-02-24T13:27:58.050" v="4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12.699" v="50" actId="20577"/>
        <pc:sldMkLst>
          <pc:docMk/>
          <pc:sldMk cId="3456073895" sldId="412"/>
        </pc:sldMkLst>
        <pc:spChg chg="mod">
          <ac:chgData name="Meyer Raphael (PAR-ES)" userId="79615dfe-ed48-4e74-a40f-4f7b034c1c27" providerId="ADAL" clId="{A6B88361-440C-4F9F-BB67-A36FE9E9AF42}" dt="2023-02-24T13:28:12.699" v="50" actId="20577"/>
          <ac:spMkLst>
            <pc:docMk/>
            <pc:sldMk cId="3456073895" sldId="412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06.594" v="49" actId="20577"/>
        <pc:sldMkLst>
          <pc:docMk/>
          <pc:sldMk cId="1058032750" sldId="413"/>
        </pc:sldMkLst>
        <pc:spChg chg="mod">
          <ac:chgData name="Meyer Raphael (PAR-ES)" userId="79615dfe-ed48-4e74-a40f-4f7b034c1c27" providerId="ADAL" clId="{A6B88361-440C-4F9F-BB67-A36FE9E9AF42}" dt="2023-02-24T13:28:06.594" v="49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BC1CCFA5-6027-4628-8DDB-5980058E081F}"/>
    <pc:docChg chg="modSld sldOrd">
      <pc:chgData name="Weigel Stefan (PAR-EPS)" userId="fd3b2067-2981-4ad8-bf3a-d2e1004e4fa8" providerId="ADAL" clId="{BC1CCFA5-6027-4628-8DDB-5980058E081F}" dt="2024-02-28T10:37:17.056" v="1"/>
      <pc:docMkLst>
        <pc:docMk/>
      </pc:docMkLst>
      <pc:sldChg chg="ord">
        <pc:chgData name="Weigel Stefan (PAR-EPS)" userId="fd3b2067-2981-4ad8-bf3a-d2e1004e4fa8" providerId="ADAL" clId="{BC1CCFA5-6027-4628-8DDB-5980058E081F}" dt="2024-02-28T10:37:17.056" v="1"/>
        <pc:sldMkLst>
          <pc:docMk/>
          <pc:sldMk cId="1649911066" sldId="415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6D4CF8F6-66AB-4DF5-B318-37FE7B294887}"/>
    <pc:docChg chg="delSld">
      <pc:chgData name="Weigel Stefan (PAR-ES)" userId="fd3b2067-2981-4ad8-bf3a-d2e1004e4fa8" providerId="ADAL" clId="{6D4CF8F6-66AB-4DF5-B318-37FE7B294887}" dt="2022-03-10T09:41:48.982" v="0" actId="2696"/>
      <pc:docMkLst>
        <pc:docMk/>
      </pc:docMkLst>
      <pc:sldChg chg="del">
        <pc:chgData name="Weigel Stefan (PAR-ES)" userId="fd3b2067-2981-4ad8-bf3a-d2e1004e4fa8" providerId="ADAL" clId="{6D4CF8F6-66AB-4DF5-B318-37FE7B294887}" dt="2022-03-10T09:41:48.982" v="0" actId="2696"/>
        <pc:sldMkLst>
          <pc:docMk/>
          <pc:sldMk cId="2144688994" sldId="410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Weigel Stefan (PAR-ES)" userId="S::stefan.weigel@sbb.ch::fd3b2067-2981-4ad8-bf3a-d2e1004e4fa8" providerId="AD" clId="Web-{6A4E46EB-4EFD-1E1A-7645-5BC5AEEE0566}"/>
    <pc:docChg chg="modSld">
      <pc:chgData name="Weigel Stefan (PAR-ES)" userId="S::stefan.weigel@sbb.ch::fd3b2067-2981-4ad8-bf3a-d2e1004e4fa8" providerId="AD" clId="Web-{6A4E46EB-4EFD-1E1A-7645-5BC5AEEE0566}" dt="2022-03-10T09:42:29.070" v="1" actId="20577"/>
      <pc:docMkLst>
        <pc:docMk/>
      </pc:docMkLst>
      <pc:sldChg chg="modSp">
        <pc:chgData name="Weigel Stefan (PAR-ES)" userId="S::stefan.weigel@sbb.ch::fd3b2067-2981-4ad8-bf3a-d2e1004e4fa8" providerId="AD" clId="Web-{6A4E46EB-4EFD-1E1A-7645-5BC5AEEE0566}" dt="2022-03-10T09:42:29.070" v="1" actId="20577"/>
        <pc:sldMkLst>
          <pc:docMk/>
          <pc:sldMk cId="1058032750" sldId="413"/>
        </pc:sldMkLst>
        <pc:spChg chg="mod">
          <ac:chgData name="Weigel Stefan (PAR-ES)" userId="S::stefan.weigel@sbb.ch::fd3b2067-2981-4ad8-bf3a-d2e1004e4fa8" providerId="AD" clId="Web-{6A4E46EB-4EFD-1E1A-7645-5BC5AEEE0566}" dt="2022-03-10T09:42:29.070" v="1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03B74A29-DD6B-4C14-AFFE-5DE820EEF751}"/>
    <pc:docChg chg="addSld delSld modSld sldOrd">
      <pc:chgData name="Weigel Stefan (PAR-EPS)" userId="fd3b2067-2981-4ad8-bf3a-d2e1004e4fa8" providerId="ADAL" clId="{03B74A29-DD6B-4C14-AFFE-5DE820EEF751}" dt="2024-02-28T10:32:46.504" v="163" actId="207"/>
      <pc:docMkLst>
        <pc:docMk/>
      </pc:docMkLst>
      <pc:sldChg chg="modSp mod">
        <pc:chgData name="Weigel Stefan (PAR-EPS)" userId="fd3b2067-2981-4ad8-bf3a-d2e1004e4fa8" providerId="ADAL" clId="{03B74A29-DD6B-4C14-AFFE-5DE820EEF751}" dt="2024-02-28T10:08:16.350" v="137" actId="1036"/>
        <pc:sldMkLst>
          <pc:docMk/>
          <pc:sldMk cId="34638060" sldId="411"/>
        </pc:sldMkLst>
        <pc:spChg chg="mod">
          <ac:chgData name="Weigel Stefan (PAR-EPS)" userId="fd3b2067-2981-4ad8-bf3a-d2e1004e4fa8" providerId="ADAL" clId="{03B74A29-DD6B-4C14-AFFE-5DE820EEF751}" dt="2024-02-28T10:04:01.260" v="76" actId="20577"/>
          <ac:spMkLst>
            <pc:docMk/>
            <pc:sldMk cId="34638060" sldId="411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50.146" v="105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8:16.350" v="137" actId="1036"/>
          <ac:spMkLst>
            <pc:docMk/>
            <pc:sldMk cId="34638060" sldId="411"/>
            <ac:spMk id="11" creationId="{F5A97D64-AAB4-4FCE-830E-2F220CB83B05}"/>
          </ac:spMkLst>
        </pc:spChg>
      </pc:sldChg>
      <pc:sldChg chg="del">
        <pc:chgData name="Weigel Stefan (PAR-EPS)" userId="fd3b2067-2981-4ad8-bf3a-d2e1004e4fa8" providerId="ADAL" clId="{03B74A29-DD6B-4C14-AFFE-5DE820EEF751}" dt="2024-02-28T10:08:38.410" v="138" actId="2696"/>
        <pc:sldMkLst>
          <pc:docMk/>
          <pc:sldMk cId="3456073895" sldId="412"/>
        </pc:sldMkLst>
      </pc:sldChg>
      <pc:sldChg chg="del">
        <pc:chgData name="Weigel Stefan (PAR-EPS)" userId="fd3b2067-2981-4ad8-bf3a-d2e1004e4fa8" providerId="ADAL" clId="{03B74A29-DD6B-4C14-AFFE-5DE820EEF751}" dt="2024-02-28T10:10:53.469" v="160" actId="47"/>
        <pc:sldMkLst>
          <pc:docMk/>
          <pc:sldMk cId="1058032750" sldId="413"/>
        </pc:sldMkLst>
      </pc:sldChg>
      <pc:sldChg chg="modSp add mod">
        <pc:chgData name="Weigel Stefan (PAR-EPS)" userId="fd3b2067-2981-4ad8-bf3a-d2e1004e4fa8" providerId="ADAL" clId="{03B74A29-DD6B-4C14-AFFE-5DE820EEF751}" dt="2024-02-28T10:07:58.545" v="127" actId="1036"/>
        <pc:sldMkLst>
          <pc:docMk/>
          <pc:sldMk cId="4208520709" sldId="414"/>
        </pc:sldMkLst>
        <pc:spChg chg="mod">
          <ac:chgData name="Weigel Stefan (PAR-EPS)" userId="fd3b2067-2981-4ad8-bf3a-d2e1004e4fa8" providerId="ADAL" clId="{03B74A29-DD6B-4C14-AFFE-5DE820EEF751}" dt="2024-02-28T10:04:19.176" v="80" actId="20577"/>
          <ac:spMkLst>
            <pc:docMk/>
            <pc:sldMk cId="4208520709" sldId="41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34.356" v="84" actId="554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7:58.545" v="127" actId="1036"/>
          <ac:spMkLst>
            <pc:docMk/>
            <pc:sldMk cId="4208520709" sldId="414"/>
            <ac:spMk id="11" creationId="{F5A97D64-AAB4-4FCE-830E-2F220CB83B05}"/>
          </ac:spMkLst>
        </pc:spChg>
      </pc:sldChg>
      <pc:sldChg chg="modSp add mod ord">
        <pc:chgData name="Weigel Stefan (PAR-EPS)" userId="fd3b2067-2981-4ad8-bf3a-d2e1004e4fa8" providerId="ADAL" clId="{03B74A29-DD6B-4C14-AFFE-5DE820EEF751}" dt="2024-02-28T10:32:46.504" v="163" actId="207"/>
        <pc:sldMkLst>
          <pc:docMk/>
          <pc:sldMk cId="1649911066" sldId="415"/>
        </pc:sldMkLst>
        <pc:spChg chg="mod">
          <ac:chgData name="Weigel Stefan (PAR-EPS)" userId="fd3b2067-2981-4ad8-bf3a-d2e1004e4fa8" providerId="ADAL" clId="{03B74A29-DD6B-4C14-AFFE-5DE820EEF751}" dt="2024-02-28T10:08:57.141" v="144" actId="20577"/>
          <ac:spMkLst>
            <pc:docMk/>
            <pc:sldMk cId="1649911066" sldId="41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9:04.879" v="145"/>
          <ac:spMkLst>
            <pc:docMk/>
            <pc:sldMk cId="1649911066" sldId="415"/>
            <ac:spMk id="5" creationId="{00000000-0000-0000-0000-000000000000}"/>
          </ac:spMkLst>
        </pc:spChg>
        <pc:graphicFrameChg chg="mod">
          <ac:chgData name="Weigel Stefan (PAR-EPS)" userId="fd3b2067-2981-4ad8-bf3a-d2e1004e4fa8" providerId="ADAL" clId="{03B74A29-DD6B-4C14-AFFE-5DE820EEF751}" dt="2024-02-28T10:32:46.504" v="163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03B74A29-DD6B-4C14-AFFE-5DE820EEF751}" dt="2024-02-28T10:10:47.136" v="159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37208948059819197</c:v>
                </c:pt>
                <c:pt idx="2">
                  <c:v>2.35613377892594</c:v>
                </c:pt>
                <c:pt idx="3">
                  <c:v>5.9686395811659905</c:v>
                </c:pt>
                <c:pt idx="4">
                  <c:v>5.3241270588857494</c:v>
                </c:pt>
                <c:pt idx="5">
                  <c:v>7.5858924154544205</c:v>
                </c:pt>
                <c:pt idx="6">
                  <c:v>7.1162534896740599</c:v>
                </c:pt>
                <c:pt idx="7">
                  <c:v>6.9200855212758094</c:v>
                </c:pt>
                <c:pt idx="8">
                  <c:v>6.7583231917726803</c:v>
                </c:pt>
                <c:pt idx="9">
                  <c:v>6.1958493973441398</c:v>
                </c:pt>
                <c:pt idx="10">
                  <c:v>6.3908679945925497</c:v>
                </c:pt>
                <c:pt idx="11">
                  <c:v>6.9605354504260903</c:v>
                </c:pt>
                <c:pt idx="12">
                  <c:v>8.1908060613089901</c:v>
                </c:pt>
                <c:pt idx="13">
                  <c:v>9.3714415366294794</c:v>
                </c:pt>
                <c:pt idx="14">
                  <c:v>5.7547429630351798</c:v>
                </c:pt>
                <c:pt idx="15">
                  <c:v>6.9618402744721797</c:v>
                </c:pt>
                <c:pt idx="16">
                  <c:v>3.2893899122597903</c:v>
                </c:pt>
                <c:pt idx="17">
                  <c:v>3.0536419862972402</c:v>
                </c:pt>
                <c:pt idx="18">
                  <c:v>0.77491371174932</c:v>
                </c:pt>
                <c:pt idx="19">
                  <c:v>0.50129147768806903</c:v>
                </c:pt>
                <c:pt idx="20">
                  <c:v>0.12904791393941401</c:v>
                </c:pt>
                <c:pt idx="21">
                  <c:v>2.4086802504719798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19010714854063</c:v>
                </c:pt>
                <c:pt idx="2">
                  <c:v>5.6461185697479506</c:v>
                </c:pt>
                <c:pt idx="3">
                  <c:v>14.459516054004501</c:v>
                </c:pt>
                <c:pt idx="4">
                  <c:v>6.2155322811398097</c:v>
                </c:pt>
                <c:pt idx="5">
                  <c:v>4.4357702067203002</c:v>
                </c:pt>
                <c:pt idx="6">
                  <c:v>3.95739010228472</c:v>
                </c:pt>
                <c:pt idx="7">
                  <c:v>3.9260739826781998</c:v>
                </c:pt>
                <c:pt idx="8">
                  <c:v>4.6253478402735002</c:v>
                </c:pt>
                <c:pt idx="9">
                  <c:v>4.0430608132618202</c:v>
                </c:pt>
                <c:pt idx="10">
                  <c:v>4.3285222935519903</c:v>
                </c:pt>
                <c:pt idx="11">
                  <c:v>5.96755386583924</c:v>
                </c:pt>
                <c:pt idx="12">
                  <c:v>9.832154687000779</c:v>
                </c:pt>
                <c:pt idx="13">
                  <c:v>10.5354578754529</c:v>
                </c:pt>
                <c:pt idx="14">
                  <c:v>6.6415093816844291</c:v>
                </c:pt>
                <c:pt idx="15">
                  <c:v>3.7953544266269299</c:v>
                </c:pt>
                <c:pt idx="16">
                  <c:v>2.7349916471528699</c:v>
                </c:pt>
                <c:pt idx="17">
                  <c:v>2.3930686662557799</c:v>
                </c:pt>
                <c:pt idx="18">
                  <c:v>2.09169592846678</c:v>
                </c:pt>
                <c:pt idx="19">
                  <c:v>1.59338606605652</c:v>
                </c:pt>
                <c:pt idx="20">
                  <c:v>0.94407879780511395</c:v>
                </c:pt>
                <c:pt idx="21">
                  <c:v>8.7866501807906797E-2</c:v>
                </c:pt>
                <c:pt idx="22">
                  <c:v>4.4292997139930998E-2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7443948520997202</c:v>
                </c:pt>
                <c:pt idx="1">
                  <c:v>0.48663178601872403</c:v>
                </c:pt>
                <c:pt idx="2">
                  <c:v>0.820832301754159</c:v>
                </c:pt>
                <c:pt idx="3">
                  <c:v>2.1178517063609998</c:v>
                </c:pt>
                <c:pt idx="4">
                  <c:v>3.4974620288190899</c:v>
                </c:pt>
                <c:pt idx="5">
                  <c:v>5.8518699480013501</c:v>
                </c:pt>
                <c:pt idx="6">
                  <c:v>6.3867145779536703</c:v>
                </c:pt>
                <c:pt idx="7">
                  <c:v>7.0149970349229305</c:v>
                </c:pt>
                <c:pt idx="8">
                  <c:v>6.9634723020590599</c:v>
                </c:pt>
                <c:pt idx="9">
                  <c:v>6.8721483697407511</c:v>
                </c:pt>
                <c:pt idx="10">
                  <c:v>7.4209596113374703</c:v>
                </c:pt>
                <c:pt idx="11">
                  <c:v>8.2772796427407798</c:v>
                </c:pt>
                <c:pt idx="12">
                  <c:v>9.1931814602499298</c:v>
                </c:pt>
                <c:pt idx="13">
                  <c:v>9.0808552883731206</c:v>
                </c:pt>
                <c:pt idx="14">
                  <c:v>7.6719117138018902</c:v>
                </c:pt>
                <c:pt idx="15">
                  <c:v>7.3202419999937192</c:v>
                </c:pt>
                <c:pt idx="16">
                  <c:v>4.8770875029762104</c:v>
                </c:pt>
                <c:pt idx="17">
                  <c:v>3.6375524175921603</c:v>
                </c:pt>
                <c:pt idx="18">
                  <c:v>1.06646656012229</c:v>
                </c:pt>
                <c:pt idx="19">
                  <c:v>0.576798516725053</c:v>
                </c:pt>
                <c:pt idx="20">
                  <c:v>0.159231404422772</c:v>
                </c:pt>
                <c:pt idx="21">
                  <c:v>7.1581066585188105E-2</c:v>
                </c:pt>
                <c:pt idx="22">
                  <c:v>1.4523971190604299E-3</c:v>
                </c:pt>
                <c:pt idx="23">
                  <c:v>0.35898087711965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0077835526692998</c:v>
                </c:pt>
                <c:pt idx="2">
                  <c:v>4.9121799777902497</c:v>
                </c:pt>
                <c:pt idx="3">
                  <c:v>9.1465362371147094</c:v>
                </c:pt>
                <c:pt idx="4">
                  <c:v>7.7482311508693904</c:v>
                </c:pt>
                <c:pt idx="5">
                  <c:v>5.6918709127104599</c:v>
                </c:pt>
                <c:pt idx="6">
                  <c:v>5.0287607882817404</c:v>
                </c:pt>
                <c:pt idx="7">
                  <c:v>4.3123853032074093</c:v>
                </c:pt>
                <c:pt idx="8">
                  <c:v>4.7981875055938996</c:v>
                </c:pt>
                <c:pt idx="9">
                  <c:v>4.5429791452540398</c:v>
                </c:pt>
                <c:pt idx="10">
                  <c:v>4.7019630809846298</c:v>
                </c:pt>
                <c:pt idx="11">
                  <c:v>5.39903935146548</c:v>
                </c:pt>
                <c:pt idx="12">
                  <c:v>8.1668042140116892</c:v>
                </c:pt>
                <c:pt idx="13">
                  <c:v>10.154884834262599</c:v>
                </c:pt>
                <c:pt idx="14">
                  <c:v>8.26601146767395</c:v>
                </c:pt>
                <c:pt idx="15">
                  <c:v>5.4223494820499001</c:v>
                </c:pt>
                <c:pt idx="16">
                  <c:v>3.8656659522304802</c:v>
                </c:pt>
                <c:pt idx="17">
                  <c:v>2.9742253938823597</c:v>
                </c:pt>
                <c:pt idx="18">
                  <c:v>2.2438954098144501</c:v>
                </c:pt>
                <c:pt idx="19">
                  <c:v>1.3044902203080699</c:v>
                </c:pt>
                <c:pt idx="20">
                  <c:v>0.41651073040388498</c:v>
                </c:pt>
                <c:pt idx="21">
                  <c:v>6.5417412426124893E-2</c:v>
                </c:pt>
                <c:pt idx="22">
                  <c:v>2.3281405570053899E-5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9794386380759</c:v>
                </c:pt>
                <c:pt idx="2">
                  <c:v>5.5202656894911302</c:v>
                </c:pt>
                <c:pt idx="3">
                  <c:v>11.129574885764001</c:v>
                </c:pt>
                <c:pt idx="4">
                  <c:v>8.37877115279165</c:v>
                </c:pt>
                <c:pt idx="5">
                  <c:v>4.3679291151560502</c:v>
                </c:pt>
                <c:pt idx="6">
                  <c:v>3.2703478654974099</c:v>
                </c:pt>
                <c:pt idx="7">
                  <c:v>3.3397961815877202</c:v>
                </c:pt>
                <c:pt idx="8">
                  <c:v>4.2289736962895095</c:v>
                </c:pt>
                <c:pt idx="9">
                  <c:v>3.8849751126763303</c:v>
                </c:pt>
                <c:pt idx="10">
                  <c:v>3.7765004766664902</c:v>
                </c:pt>
                <c:pt idx="11">
                  <c:v>4.7940543012137002</c:v>
                </c:pt>
                <c:pt idx="12">
                  <c:v>8.4398209073766299</c:v>
                </c:pt>
                <c:pt idx="13">
                  <c:v>12.2085776301419</c:v>
                </c:pt>
                <c:pt idx="14">
                  <c:v>8.530316382912261</c:v>
                </c:pt>
                <c:pt idx="15">
                  <c:v>4.93250403184057</c:v>
                </c:pt>
                <c:pt idx="16">
                  <c:v>3.5432230819933102</c:v>
                </c:pt>
                <c:pt idx="17">
                  <c:v>2.8923414982847899</c:v>
                </c:pt>
                <c:pt idx="18">
                  <c:v>2.88130878532343</c:v>
                </c:pt>
                <c:pt idx="19">
                  <c:v>2.02944934134484</c:v>
                </c:pt>
                <c:pt idx="20">
                  <c:v>0.54070228766306194</c:v>
                </c:pt>
                <c:pt idx="21">
                  <c:v>1.9471690598264E-3</c:v>
                </c:pt>
                <c:pt idx="22">
                  <c:v>9.3823978781942602E-4</c:v>
                </c:pt>
                <c:pt idx="23">
                  <c:v>1.2591782791077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44866791384976001</c:v>
                </c:pt>
                <c:pt idx="1">
                  <c:v>1.08941074492654</c:v>
                </c:pt>
                <c:pt idx="2">
                  <c:v>1.6897305246085002</c:v>
                </c:pt>
                <c:pt idx="3">
                  <c:v>2.4880851179230401</c:v>
                </c:pt>
                <c:pt idx="4">
                  <c:v>3.6598178577267904</c:v>
                </c:pt>
                <c:pt idx="5">
                  <c:v>5.01087696803644</c:v>
                </c:pt>
                <c:pt idx="6">
                  <c:v>5.6119302010574597</c:v>
                </c:pt>
                <c:pt idx="7">
                  <c:v>5.4503210151591199</c:v>
                </c:pt>
                <c:pt idx="8">
                  <c:v>5.8718971655401901</c:v>
                </c:pt>
                <c:pt idx="9">
                  <c:v>6.3732429271693398</c:v>
                </c:pt>
                <c:pt idx="10">
                  <c:v>6.5129165168293399</c:v>
                </c:pt>
                <c:pt idx="11">
                  <c:v>6.9106120554817503</c:v>
                </c:pt>
                <c:pt idx="12">
                  <c:v>7.9158287191622403</c:v>
                </c:pt>
                <c:pt idx="13">
                  <c:v>8.2531341868781798</c:v>
                </c:pt>
                <c:pt idx="14">
                  <c:v>7.8020531648037199</c:v>
                </c:pt>
                <c:pt idx="15">
                  <c:v>6.5229651098262993</c:v>
                </c:pt>
                <c:pt idx="16">
                  <c:v>5.6266335288655096</c:v>
                </c:pt>
                <c:pt idx="17">
                  <c:v>4.3784284061896006</c:v>
                </c:pt>
                <c:pt idx="18">
                  <c:v>3.1442241655868801</c:v>
                </c:pt>
                <c:pt idx="19">
                  <c:v>1.9720411212875801</c:v>
                </c:pt>
                <c:pt idx="20">
                  <c:v>0.81594730041904506</c:v>
                </c:pt>
                <c:pt idx="21">
                  <c:v>1.00756448593632</c:v>
                </c:pt>
                <c:pt idx="22">
                  <c:v>0.7965186639136731</c:v>
                </c:pt>
                <c:pt idx="23">
                  <c:v>0.6471521388226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98146873398182299</c:v>
                </c:pt>
                <c:pt idx="2">
                  <c:v>4.4095041051534505</c:v>
                </c:pt>
                <c:pt idx="3">
                  <c:v>9.9843219958989309</c:v>
                </c:pt>
                <c:pt idx="4">
                  <c:v>7.8367979513994293</c:v>
                </c:pt>
                <c:pt idx="5">
                  <c:v>5.2214054919050099</c:v>
                </c:pt>
                <c:pt idx="6">
                  <c:v>4.2479832277607503</c:v>
                </c:pt>
                <c:pt idx="7">
                  <c:v>4.4923670899636097</c:v>
                </c:pt>
                <c:pt idx="8">
                  <c:v>4.6477367325873296</c:v>
                </c:pt>
                <c:pt idx="9">
                  <c:v>4.5591356924741104</c:v>
                </c:pt>
                <c:pt idx="10">
                  <c:v>4.4553302735548899</c:v>
                </c:pt>
                <c:pt idx="11">
                  <c:v>5.6097092299183204</c:v>
                </c:pt>
                <c:pt idx="12">
                  <c:v>8.2354040878886199</c:v>
                </c:pt>
                <c:pt idx="13">
                  <c:v>10.609699131974599</c:v>
                </c:pt>
                <c:pt idx="14">
                  <c:v>8.7347347971192502</c:v>
                </c:pt>
                <c:pt idx="15">
                  <c:v>5.7847627893336595</c:v>
                </c:pt>
                <c:pt idx="16">
                  <c:v>3.5974194302441398</c:v>
                </c:pt>
                <c:pt idx="17">
                  <c:v>2.2891936870327401</c:v>
                </c:pt>
                <c:pt idx="18">
                  <c:v>1.9066025343557902</c:v>
                </c:pt>
                <c:pt idx="19">
                  <c:v>1.4155334268662298</c:v>
                </c:pt>
                <c:pt idx="20">
                  <c:v>0.53979509371119394</c:v>
                </c:pt>
                <c:pt idx="21">
                  <c:v>0.167971131239465</c:v>
                </c:pt>
                <c:pt idx="22">
                  <c:v>6.8532965038132901E-2</c:v>
                </c:pt>
                <c:pt idx="23">
                  <c:v>0.13242935007780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4420550421107</c:v>
                </c:pt>
                <c:pt idx="2">
                  <c:v>5.5271505267884606</c:v>
                </c:pt>
                <c:pt idx="3">
                  <c:v>11.695920487466099</c:v>
                </c:pt>
                <c:pt idx="4">
                  <c:v>7.8034544749004899</c:v>
                </c:pt>
                <c:pt idx="5">
                  <c:v>4.1927747109696396</c:v>
                </c:pt>
                <c:pt idx="6">
                  <c:v>3.2708112448423998</c:v>
                </c:pt>
                <c:pt idx="7">
                  <c:v>3.57967456938011</c:v>
                </c:pt>
                <c:pt idx="8">
                  <c:v>4.4871017973341694</c:v>
                </c:pt>
                <c:pt idx="9">
                  <c:v>4.1745675632013199</c:v>
                </c:pt>
                <c:pt idx="10">
                  <c:v>4.1566021223234699</c:v>
                </c:pt>
                <c:pt idx="11">
                  <c:v>5.1800993400673496</c:v>
                </c:pt>
                <c:pt idx="12">
                  <c:v>8.9787501031041987</c:v>
                </c:pt>
                <c:pt idx="13">
                  <c:v>10.8281747090534</c:v>
                </c:pt>
                <c:pt idx="14">
                  <c:v>8.4365487644552903</c:v>
                </c:pt>
                <c:pt idx="15">
                  <c:v>5.29829383167037</c:v>
                </c:pt>
                <c:pt idx="16">
                  <c:v>3.2359592408443798</c:v>
                </c:pt>
                <c:pt idx="17">
                  <c:v>2.6289406315612598</c:v>
                </c:pt>
                <c:pt idx="18">
                  <c:v>2.43537855506476</c:v>
                </c:pt>
                <c:pt idx="19">
                  <c:v>1.70819769909513</c:v>
                </c:pt>
                <c:pt idx="20">
                  <c:v>0.98625827591701398</c:v>
                </c:pt>
                <c:pt idx="21">
                  <c:v>2.9945975797330399E-2</c:v>
                </c:pt>
                <c:pt idx="22">
                  <c:v>1.0915388589425501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2937409125080197</c:v>
                </c:pt>
                <c:pt idx="1">
                  <c:v>1.21188490581459</c:v>
                </c:pt>
                <c:pt idx="2">
                  <c:v>1.6789120289783102</c:v>
                </c:pt>
                <c:pt idx="3">
                  <c:v>2.6913418426578897</c:v>
                </c:pt>
                <c:pt idx="4">
                  <c:v>3.4822818984115198</c:v>
                </c:pt>
                <c:pt idx="5">
                  <c:v>4.6179340727974099</c:v>
                </c:pt>
                <c:pt idx="6">
                  <c:v>5.4561959842357197</c:v>
                </c:pt>
                <c:pt idx="7">
                  <c:v>6.2565791720110102</c:v>
                </c:pt>
                <c:pt idx="8">
                  <c:v>5.9232074619402999</c:v>
                </c:pt>
                <c:pt idx="9">
                  <c:v>6.0582615709602301</c:v>
                </c:pt>
                <c:pt idx="10">
                  <c:v>6.20626954205109</c:v>
                </c:pt>
                <c:pt idx="11">
                  <c:v>7.3644456998570904</c:v>
                </c:pt>
                <c:pt idx="12">
                  <c:v>8.1577327753799</c:v>
                </c:pt>
                <c:pt idx="13">
                  <c:v>8.6948982237618413</c:v>
                </c:pt>
                <c:pt idx="14">
                  <c:v>7.8929080651699399</c:v>
                </c:pt>
                <c:pt idx="15">
                  <c:v>7.3010569804449696</c:v>
                </c:pt>
                <c:pt idx="16">
                  <c:v>6.2711007532315302</c:v>
                </c:pt>
                <c:pt idx="17">
                  <c:v>4.17634074061076</c:v>
                </c:pt>
                <c:pt idx="18">
                  <c:v>2.6797912133702297</c:v>
                </c:pt>
                <c:pt idx="19">
                  <c:v>1.8220900699488101</c:v>
                </c:pt>
                <c:pt idx="20">
                  <c:v>0.73060388101806295</c:v>
                </c:pt>
                <c:pt idx="21">
                  <c:v>0.394817831908581</c:v>
                </c:pt>
                <c:pt idx="22">
                  <c:v>0.38116744121080204</c:v>
                </c:pt>
                <c:pt idx="23">
                  <c:v>0.22080375297858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71833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922569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2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2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49156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202821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2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200" dirty="0" err="1">
              <a:solidFill>
                <a:srgbClr val="444444"/>
              </a:solidFill>
            </a:rPr>
            <a:t>lunedì-venerdì</a:t>
          </a:r>
          <a:r>
            <a:rPr lang="de-CH" sz="12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386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688804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2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2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55506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21" y="-44970"/>
          <a:ext cx="1393578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200" dirty="0">
              <a:solidFill>
                <a:srgbClr val="444444"/>
              </a:solidFill>
            </a:rPr>
            <a:t>Fernverkehr </a:t>
          </a:r>
        </a:p>
        <a:p xmlns:a="http://schemas.openxmlformats.org/drawingml/2006/main">
          <a:r>
            <a:rPr lang="de-CH" sz="1200" dirty="0">
              <a:solidFill>
                <a:srgbClr val="444444"/>
              </a:solidFill>
            </a:rPr>
            <a:t>Montag bis Freitag  </a:t>
          </a:r>
          <a:endParaRPr lang="de-CH" sz="12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7333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1" y="-7495"/>
          <a:ext cx="1791743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200" dirty="0">
              <a:solidFill>
                <a:srgbClr val="444444"/>
              </a:solidFill>
            </a:rPr>
            <a:t>Regionalverkehr</a:t>
          </a:r>
        </a:p>
        <a:p xmlns:a="http://schemas.openxmlformats.org/drawingml/2006/main">
          <a:r>
            <a:rPr lang="de-CH" sz="1200" dirty="0">
              <a:solidFill>
                <a:srgbClr val="444444"/>
              </a:solidFill>
            </a:rPr>
            <a:t>Montag bis Freitag  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85129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65" y="-44970"/>
          <a:ext cx="2405921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200" dirty="0">
              <a:solidFill>
                <a:srgbClr val="444444"/>
              </a:solidFill>
            </a:rPr>
            <a:t>Regional- und Fernverkehr </a:t>
          </a:r>
        </a:p>
        <a:p xmlns:a="http://schemas.openxmlformats.org/drawingml/2006/main">
          <a:r>
            <a:rPr lang="de-CH" sz="1200" dirty="0">
              <a:solidFill>
                <a:srgbClr val="444444"/>
              </a:solidFill>
            </a:rPr>
            <a:t>Sonntag 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58128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478537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633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35256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80155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244773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331285150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965502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96199818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3912778664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33981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ugpassagiere im Tagesablauf im 2023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3795785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965502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zentanteile des Personenverkehrsaufkommens pro Stunde in den ankommenden und abfahrenden Zügen in Zürich HB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4236813730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1750548346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33981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61761699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965502" y="6104605"/>
            <a:ext cx="7146414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231952569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784646119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4471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FEF412F-45B0-421F-B3D6-DC4EE36542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1</Words>
  <Application>Microsoft Office PowerPoint</Application>
  <PresentationFormat>Breitbild</PresentationFormat>
  <Paragraphs>33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3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asseggeri nell’arco della giornata nel 2023.</vt:lpstr>
      <vt:lpstr>Zugpassagiere im Tagesablauf im 2023.</vt:lpstr>
      <vt:lpstr>Passagers au cours de la journée e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sseggeri nell’arco della giornata nel 2023.</dc:title>
  <dc:creator>Meyer Raphael (KOM-PGA-VSF)</dc:creator>
  <cp:lastModifiedBy>Stefan Weigel (PAR-EPS)</cp:lastModifiedBy>
  <cp:revision>62</cp:revision>
  <dcterms:created xsi:type="dcterms:W3CDTF">2020-09-30T11:00:09Z</dcterms:created>
  <dcterms:modified xsi:type="dcterms:W3CDTF">2024-02-28T12:0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